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3E9ECF96-226D-4AF2-81C7-0101A1670EF0}"/>
    <pc:docChg chg="modSld">
      <pc:chgData name="Weigel Stefan (PAR-EPS)" userId="fd3b2067-2981-4ad8-bf3a-d2e1004e4fa8" providerId="ADAL" clId="{3E9ECF96-226D-4AF2-81C7-0101A1670EF0}" dt="2024-02-28T13:09:59.888" v="8" actId="27918"/>
      <pc:docMkLst>
        <pc:docMk/>
      </pc:docMkLst>
      <pc:sldChg chg="modSp mod">
        <pc:chgData name="Weigel Stefan (PAR-EPS)" userId="fd3b2067-2981-4ad8-bf3a-d2e1004e4fa8" providerId="ADAL" clId="{3E9ECF96-226D-4AF2-81C7-0101A1670EF0}" dt="2024-02-28T13:09:59.888" v="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3E9ECF96-226D-4AF2-81C7-0101A1670EF0}" dt="2024-02-28T13:09:16.870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05:50.832" v="78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05:50.832" v="7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éraillements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rapportées au nombre de courses 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survenus à des passages à niveau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Accidents de voyageurs ou de tiers lors de l’accès aux train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s rapportées au nombre de courses par million de sillons­kilomètr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4666744795290797"/>
          <c:h val="0.2063830258829060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55</cdr:x>
      <cdr:y>0.116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58414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 err="1"/>
            <a:t>nombre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803</cdr:x>
      <cdr:y>0.07302</cdr:y>
    </cdr:from>
    <cdr:to>
      <cdr:x>0.90014</cdr:x>
      <cdr:y>0.1166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66678" y="392022"/>
          <a:ext cx="1250347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50" dirty="0" err="1"/>
            <a:t>nombre</a:t>
          </a:r>
          <a:r>
            <a:rPr lang="de-CH" sz="1050" dirty="0"/>
            <a:t>/M </a:t>
          </a:r>
          <a:r>
            <a:rPr lang="de-CH" sz="1050" dirty="0" err="1"/>
            <a:t>sillon</a:t>
          </a:r>
          <a:r>
            <a:rPr lang="de-CH" sz="1050" dirty="0"/>
            <a:t>-k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Accidents</a:t>
            </a:r>
            <a:r>
              <a:rPr lang="de-CH" dirty="0"/>
              <a:t> </a:t>
            </a:r>
            <a:r>
              <a:rPr lang="de-CH" dirty="0" err="1"/>
              <a:t>d’exploitation</a:t>
            </a:r>
            <a:r>
              <a:rPr lang="de-CH" dirty="0"/>
              <a:t> ferroviair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98969391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42085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96e82a89-ba48-4728-b345-cf206dbec8f1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ccidents d’exploitation ferroviair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idents d’exploitation ferroviaire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3:1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